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58" r:id="rId1"/>
    <p:sldMasterId id="2147483660" r:id="rId2"/>
  </p:sldMasterIdLst>
  <p:notesMasterIdLst>
    <p:notesMasterId r:id="rId18"/>
  </p:notesMasterIdLst>
  <p:handoutMasterIdLst>
    <p:handoutMasterId r:id="rId19"/>
  </p:handoutMasterIdLst>
  <p:sldIdLst>
    <p:sldId id="314" r:id="rId3"/>
    <p:sldId id="348" r:id="rId4"/>
    <p:sldId id="352" r:id="rId5"/>
    <p:sldId id="389" r:id="rId6"/>
    <p:sldId id="395" r:id="rId7"/>
    <p:sldId id="396" r:id="rId8"/>
    <p:sldId id="397" r:id="rId9"/>
    <p:sldId id="391" r:id="rId10"/>
    <p:sldId id="393" r:id="rId11"/>
    <p:sldId id="401" r:id="rId12"/>
    <p:sldId id="402" r:id="rId13"/>
    <p:sldId id="398" r:id="rId14"/>
    <p:sldId id="399" r:id="rId15"/>
    <p:sldId id="400" r:id="rId16"/>
    <p:sldId id="349" r:id="rId17"/>
  </p:sldIdLst>
  <p:sldSz cx="9144000" cy="6858000" type="screen4x3"/>
  <p:notesSz cx="9926638" cy="6797675"/>
  <p:defaultTextStyle>
    <a:defPPr>
      <a:defRPr lang="sv-S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0000"/>
    <a:srgbClr val="9933FF"/>
    <a:srgbClr val="FF0000"/>
    <a:srgbClr val="FF9933"/>
    <a:srgbClr val="FFFF00"/>
    <a:srgbClr val="91A9C4"/>
    <a:srgbClr val="CC66FF"/>
    <a:srgbClr val="9966FF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07" autoAdjust="0"/>
    <p:restoredTop sz="96437" autoAdjust="0"/>
  </p:normalViewPr>
  <p:slideViewPr>
    <p:cSldViewPr snapToObjects="1">
      <p:cViewPr varScale="1">
        <p:scale>
          <a:sx n="116" d="100"/>
          <a:sy n="116" d="100"/>
        </p:scale>
        <p:origin x="1884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1696" y="1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6456378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1696" y="6456378"/>
            <a:ext cx="4302625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D1AC956-7DC8-4324-802F-E2B6D76F74D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930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>
            <a:lvl1pPr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30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4018" y="1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>
            <a:lvl1pPr algn="r"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5488" y="509588"/>
            <a:ext cx="3398837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0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205" y="3229279"/>
            <a:ext cx="7942238" cy="305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noProof="0" smtClean="0"/>
              <a:t>Klicka här för att ändra format på bakgrundstexten</a:t>
            </a:r>
          </a:p>
          <a:p>
            <a:pPr lvl="1"/>
            <a:r>
              <a:rPr lang="sv-SE" noProof="0" smtClean="0"/>
              <a:t>Nivå två</a:t>
            </a:r>
          </a:p>
          <a:p>
            <a:pPr lvl="2"/>
            <a:r>
              <a:rPr lang="sv-SE" noProof="0" smtClean="0"/>
              <a:t>Nivå tre</a:t>
            </a:r>
          </a:p>
          <a:p>
            <a:pPr lvl="3"/>
            <a:r>
              <a:rPr lang="sv-SE" noProof="0" smtClean="0"/>
              <a:t>Nivå fyra</a:t>
            </a:r>
          </a:p>
          <a:p>
            <a:pPr lvl="4"/>
            <a:r>
              <a:rPr lang="sv-SE" noProof="0" smtClean="0"/>
              <a:t>Nivå fem</a:t>
            </a:r>
          </a:p>
        </p:txBody>
      </p:sp>
      <p:sp>
        <p:nvSpPr>
          <p:cNvPr id="130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6456378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b" anchorCtr="0" compatLnSpc="1">
            <a:prstTxWarp prst="textNoShape">
              <a:avLst/>
            </a:prstTxWarp>
          </a:bodyPr>
          <a:lstStyle>
            <a:lvl1pPr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30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4018" y="6456378"/>
            <a:ext cx="4300307" cy="34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b" anchorCtr="0" compatLnSpc="1">
            <a:prstTxWarp prst="textNoShape">
              <a:avLst/>
            </a:prstTxWarp>
          </a:bodyPr>
          <a:lstStyle>
            <a:lvl1pPr algn="r" defTabSz="948221">
              <a:defRPr sz="1300"/>
            </a:lvl1pPr>
          </a:lstStyle>
          <a:p>
            <a:pPr>
              <a:defRPr/>
            </a:pPr>
            <a:fld id="{AE8519D8-ACA6-4553-96AF-A6D40BAB8AB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896070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cs-CZ" smtClean="0"/>
          </a:p>
        </p:txBody>
      </p:sp>
      <p:sp>
        <p:nvSpPr>
          <p:cNvPr id="18436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fld id="{AAEE9244-3318-4F4A-B958-E4A495FF025C}" type="slidenum">
              <a:rPr lang="en-GB" altLang="cs-CZ">
                <a:latin typeface="Calibri" pitchFamily="34" charset="0"/>
              </a:rPr>
              <a:pPr/>
              <a:t>1</a:t>
            </a:fld>
            <a:endParaRPr lang="en-GB" altLang="cs-CZ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209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8519D8-ACA6-4553-96AF-A6D40BAB8AB9}" type="slidenum">
              <a:rPr lang="sv-SE" smtClean="0"/>
              <a:pPr>
                <a:defRPr/>
              </a:pPr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08380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5"/>
          <p:cNvSpPr>
            <a:spLocks noChangeArrowheads="1"/>
          </p:cNvSpPr>
          <p:nvPr/>
        </p:nvSpPr>
        <p:spPr bwMode="auto">
          <a:xfrm>
            <a:off x="107950" y="6407150"/>
            <a:ext cx="8928100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5" name="Text Box 102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6" name="Text Box 104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grpSp>
        <p:nvGrpSpPr>
          <p:cNvPr id="7" name="Group 121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8" name="Freeform 122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9" name="Oval 123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0" name="Freeform 124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1" name="Freeform 125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2" name="Freeform 126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3" name="Freeform 127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4" name="Freeform 128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15" name="Rectangle 129">
            <a:hlinkClick r:id="rId2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1891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827088" y="4660900"/>
            <a:ext cx="7524750" cy="641350"/>
          </a:xfrm>
        </p:spPr>
        <p:txBody>
          <a:bodyPr lIns="91440" tIns="45720" rIns="91440" bIns="45720" anchor="t">
            <a:spAutoFit/>
          </a:bodyPr>
          <a:lstStyle>
            <a:lvl1pPr>
              <a:defRPr sz="3600"/>
            </a:lvl1pPr>
          </a:lstStyle>
          <a:p>
            <a:r>
              <a:rPr lang="cs-CZ" smtClean="0"/>
              <a:t>Klepnutím lze upravit styl předlohy nadpisů.</a:t>
            </a:r>
            <a:endParaRPr lang="sv-SE"/>
          </a:p>
        </p:txBody>
      </p:sp>
      <p:sp>
        <p:nvSpPr>
          <p:cNvPr id="161892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827088" y="5233988"/>
            <a:ext cx="7524750" cy="360362"/>
          </a:xfrm>
        </p:spPr>
        <p:txBody>
          <a:bodyPr lIns="91440" tIns="45720" rIns="91440" bIns="45720">
            <a:spAutoFit/>
          </a:bodyPr>
          <a:lstStyle>
            <a:lvl1pPr>
              <a:defRPr sz="1600" b="1"/>
            </a:lvl1pPr>
          </a:lstStyle>
          <a:p>
            <a:r>
              <a:rPr lang="cs-CZ" smtClean="0"/>
              <a:t>Klepnutím lze upravit styl předlohy podnadpisů.</a:t>
            </a:r>
            <a:endParaRPr lang="sv-SE"/>
          </a:p>
        </p:txBody>
      </p:sp>
      <p:sp>
        <p:nvSpPr>
          <p:cNvPr id="16" name="Rectangle 10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D7737-8FA5-4244-B785-291C2C57AEA8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17" name="Rectangle 1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8" name="Rectangle 119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5563C2-94D1-46ED-A7AC-808C63C86A6B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515241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62D4C-C93F-494A-8D1A-A5ADA335BCC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E84758-6E60-4FC3-AD10-B246ED4028CE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33407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70663" y="1089025"/>
            <a:ext cx="1997075" cy="5219700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574675" y="1089025"/>
            <a:ext cx="5843588" cy="5219700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091D6A-DA9F-44B7-93CC-99576D78297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2839D-A064-4AA0-92E6-2187FB72574B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2904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Nadpis, text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47700" y="1089025"/>
            <a:ext cx="7848600" cy="719138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7D1242-5564-4F93-8E4E-06B5E124173F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93E276-E646-4570-B4CB-36E00D11E727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200187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Nadpis, text a 2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47700" y="1089025"/>
            <a:ext cx="7848600" cy="719138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quarter" idx="2"/>
          </p:nvPr>
        </p:nvSpPr>
        <p:spPr>
          <a:xfrm>
            <a:off x="4646613" y="1808163"/>
            <a:ext cx="3921125" cy="2173287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obsah 4"/>
          <p:cNvSpPr>
            <a:spLocks noGrp="1"/>
          </p:cNvSpPr>
          <p:nvPr>
            <p:ph sz="quarter" idx="3"/>
          </p:nvPr>
        </p:nvSpPr>
        <p:spPr>
          <a:xfrm>
            <a:off x="4646613" y="4133850"/>
            <a:ext cx="3921125" cy="2174875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B8856-6A16-4545-9098-9593E3E20ADC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7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FD2436-E9A0-4D1F-A496-295F41DEC3A9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982748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sida (1)">
    <p:bg>
      <p:bgPr>
        <a:solidFill>
          <a:srgbClr val="91A9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8024813" y="263525"/>
            <a:ext cx="921544" cy="373063"/>
            <a:chOff x="6766" y="132"/>
            <a:chExt cx="673" cy="204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6766" y="132"/>
              <a:ext cx="673" cy="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6" name="Freeform 5"/>
            <p:cNvSpPr>
              <a:spLocks noEditPoints="1"/>
            </p:cNvSpPr>
            <p:nvPr userDrawn="1"/>
          </p:nvSpPr>
          <p:spPr bwMode="auto">
            <a:xfrm>
              <a:off x="7265" y="160"/>
              <a:ext cx="174" cy="174"/>
            </a:xfrm>
            <a:custGeom>
              <a:avLst/>
              <a:gdLst>
                <a:gd name="T0" fmla="*/ 35 w 174"/>
                <a:gd name="T1" fmla="*/ 136 h 174"/>
                <a:gd name="T2" fmla="*/ 87 w 174"/>
                <a:gd name="T3" fmla="*/ 83 h 174"/>
                <a:gd name="T4" fmla="*/ 139 w 174"/>
                <a:gd name="T5" fmla="*/ 136 h 174"/>
                <a:gd name="T6" fmla="*/ 139 w 174"/>
                <a:gd name="T7" fmla="*/ 153 h 174"/>
                <a:gd name="T8" fmla="*/ 35 w 174"/>
                <a:gd name="T9" fmla="*/ 153 h 174"/>
                <a:gd name="T10" fmla="*/ 35 w 174"/>
                <a:gd name="T11" fmla="*/ 136 h 174"/>
                <a:gd name="T12" fmla="*/ 22 w 174"/>
                <a:gd name="T13" fmla="*/ 15 h 174"/>
                <a:gd name="T14" fmla="*/ 63 w 174"/>
                <a:gd name="T15" fmla="*/ 59 h 174"/>
                <a:gd name="T16" fmla="*/ 0 w 174"/>
                <a:gd name="T17" fmla="*/ 59 h 174"/>
                <a:gd name="T18" fmla="*/ 0 w 174"/>
                <a:gd name="T19" fmla="*/ 78 h 174"/>
                <a:gd name="T20" fmla="*/ 63 w 174"/>
                <a:gd name="T21" fmla="*/ 78 h 174"/>
                <a:gd name="T22" fmla="*/ 15 w 174"/>
                <a:gd name="T23" fmla="*/ 127 h 174"/>
                <a:gd name="T24" fmla="*/ 15 w 174"/>
                <a:gd name="T25" fmla="*/ 174 h 174"/>
                <a:gd name="T26" fmla="*/ 159 w 174"/>
                <a:gd name="T27" fmla="*/ 174 h 174"/>
                <a:gd name="T28" fmla="*/ 159 w 174"/>
                <a:gd name="T29" fmla="*/ 127 h 174"/>
                <a:gd name="T30" fmla="*/ 111 w 174"/>
                <a:gd name="T31" fmla="*/ 78 h 174"/>
                <a:gd name="T32" fmla="*/ 174 w 174"/>
                <a:gd name="T33" fmla="*/ 78 h 174"/>
                <a:gd name="T34" fmla="*/ 174 w 174"/>
                <a:gd name="T35" fmla="*/ 59 h 174"/>
                <a:gd name="T36" fmla="*/ 111 w 174"/>
                <a:gd name="T37" fmla="*/ 59 h 174"/>
                <a:gd name="T38" fmla="*/ 152 w 174"/>
                <a:gd name="T39" fmla="*/ 15 h 174"/>
                <a:gd name="T40" fmla="*/ 137 w 174"/>
                <a:gd name="T41" fmla="*/ 2 h 174"/>
                <a:gd name="T42" fmla="*/ 87 w 174"/>
                <a:gd name="T43" fmla="*/ 53 h 174"/>
                <a:gd name="T44" fmla="*/ 37 w 174"/>
                <a:gd name="T45" fmla="*/ 0 h 174"/>
                <a:gd name="T46" fmla="*/ 22 w 174"/>
                <a:gd name="T47" fmla="*/ 15 h 17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4" h="174">
                  <a:moveTo>
                    <a:pt x="35" y="136"/>
                  </a:moveTo>
                  <a:lnTo>
                    <a:pt x="87" y="83"/>
                  </a:lnTo>
                  <a:lnTo>
                    <a:pt x="139" y="136"/>
                  </a:lnTo>
                  <a:lnTo>
                    <a:pt x="139" y="153"/>
                  </a:lnTo>
                  <a:lnTo>
                    <a:pt x="35" y="153"/>
                  </a:lnTo>
                  <a:lnTo>
                    <a:pt x="35" y="136"/>
                  </a:lnTo>
                  <a:close/>
                  <a:moveTo>
                    <a:pt x="22" y="15"/>
                  </a:moveTo>
                  <a:lnTo>
                    <a:pt x="63" y="59"/>
                  </a:lnTo>
                  <a:lnTo>
                    <a:pt x="0" y="59"/>
                  </a:lnTo>
                  <a:lnTo>
                    <a:pt x="0" y="78"/>
                  </a:lnTo>
                  <a:lnTo>
                    <a:pt x="63" y="78"/>
                  </a:lnTo>
                  <a:lnTo>
                    <a:pt x="15" y="127"/>
                  </a:lnTo>
                  <a:lnTo>
                    <a:pt x="15" y="174"/>
                  </a:lnTo>
                  <a:lnTo>
                    <a:pt x="159" y="174"/>
                  </a:lnTo>
                  <a:lnTo>
                    <a:pt x="159" y="127"/>
                  </a:lnTo>
                  <a:lnTo>
                    <a:pt x="111" y="78"/>
                  </a:lnTo>
                  <a:lnTo>
                    <a:pt x="174" y="78"/>
                  </a:lnTo>
                  <a:lnTo>
                    <a:pt x="174" y="59"/>
                  </a:lnTo>
                  <a:lnTo>
                    <a:pt x="111" y="59"/>
                  </a:lnTo>
                  <a:lnTo>
                    <a:pt x="152" y="15"/>
                  </a:lnTo>
                  <a:lnTo>
                    <a:pt x="137" y="2"/>
                  </a:lnTo>
                  <a:lnTo>
                    <a:pt x="87" y="53"/>
                  </a:lnTo>
                  <a:lnTo>
                    <a:pt x="37" y="0"/>
                  </a:lnTo>
                  <a:lnTo>
                    <a:pt x="22" y="1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" name="Oval 6"/>
            <p:cNvSpPr>
              <a:spLocks noChangeArrowheads="1"/>
            </p:cNvSpPr>
            <p:nvPr userDrawn="1"/>
          </p:nvSpPr>
          <p:spPr bwMode="auto">
            <a:xfrm>
              <a:off x="7332" y="134"/>
              <a:ext cx="40" cy="4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Sweco Sans" charset="-1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Sweco Sans" charset="-1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Sweco Sans" charset="-1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Sweco Sans" charset="-1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Sweco Sans" charset="-1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9pPr>
            </a:lstStyle>
            <a:p>
              <a:pPr eaLnBrk="1" hangingPunct="1"/>
              <a:endParaRPr lang="en-GB" altLang="cs-CZ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7141" y="247"/>
              <a:ext cx="83" cy="89"/>
            </a:xfrm>
            <a:custGeom>
              <a:avLst/>
              <a:gdLst>
                <a:gd name="T0" fmla="*/ 41 w 45"/>
                <a:gd name="T1" fmla="*/ 72 h 47"/>
                <a:gd name="T2" fmla="*/ 59 w 45"/>
                <a:gd name="T3" fmla="*/ 44 h 47"/>
                <a:gd name="T4" fmla="*/ 41 w 45"/>
                <a:gd name="T5" fmla="*/ 17 h 47"/>
                <a:gd name="T6" fmla="*/ 22 w 45"/>
                <a:gd name="T7" fmla="*/ 44 h 47"/>
                <a:gd name="T8" fmla="*/ 41 w 45"/>
                <a:gd name="T9" fmla="*/ 72 h 47"/>
                <a:gd name="T10" fmla="*/ 41 w 45"/>
                <a:gd name="T11" fmla="*/ 0 h 47"/>
                <a:gd name="T12" fmla="*/ 83 w 45"/>
                <a:gd name="T13" fmla="*/ 44 h 47"/>
                <a:gd name="T14" fmla="*/ 41 w 45"/>
                <a:gd name="T15" fmla="*/ 89 h 47"/>
                <a:gd name="T16" fmla="*/ 0 w 45"/>
                <a:gd name="T17" fmla="*/ 44 h 47"/>
                <a:gd name="T18" fmla="*/ 41 w 45"/>
                <a:gd name="T19" fmla="*/ 0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5" h="47">
                  <a:moveTo>
                    <a:pt x="22" y="38"/>
                  </a:moveTo>
                  <a:cubicBezTo>
                    <a:pt x="30" y="38"/>
                    <a:pt x="32" y="31"/>
                    <a:pt x="32" y="23"/>
                  </a:cubicBezTo>
                  <a:cubicBezTo>
                    <a:pt x="32" y="16"/>
                    <a:pt x="30" y="9"/>
                    <a:pt x="22" y="9"/>
                  </a:cubicBezTo>
                  <a:cubicBezTo>
                    <a:pt x="15" y="9"/>
                    <a:pt x="12" y="16"/>
                    <a:pt x="12" y="23"/>
                  </a:cubicBezTo>
                  <a:cubicBezTo>
                    <a:pt x="12" y="31"/>
                    <a:pt x="15" y="38"/>
                    <a:pt x="22" y="38"/>
                  </a:cubicBezTo>
                  <a:moveTo>
                    <a:pt x="22" y="0"/>
                  </a:moveTo>
                  <a:cubicBezTo>
                    <a:pt x="37" y="0"/>
                    <a:pt x="45" y="9"/>
                    <a:pt x="45" y="23"/>
                  </a:cubicBezTo>
                  <a:cubicBezTo>
                    <a:pt x="45" y="38"/>
                    <a:pt x="37" y="47"/>
                    <a:pt x="22" y="47"/>
                  </a:cubicBezTo>
                  <a:cubicBezTo>
                    <a:pt x="8" y="47"/>
                    <a:pt x="0" y="38"/>
                    <a:pt x="0" y="23"/>
                  </a:cubicBezTo>
                  <a:cubicBezTo>
                    <a:pt x="0" y="9"/>
                    <a:pt x="8" y="0"/>
                    <a:pt x="22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7053" y="247"/>
              <a:ext cx="73" cy="89"/>
            </a:xfrm>
            <a:custGeom>
              <a:avLst/>
              <a:gdLst>
                <a:gd name="T0" fmla="*/ 49 w 39"/>
                <a:gd name="T1" fmla="*/ 0 h 47"/>
                <a:gd name="T2" fmla="*/ 73 w 39"/>
                <a:gd name="T3" fmla="*/ 4 h 47"/>
                <a:gd name="T4" fmla="*/ 71 w 39"/>
                <a:gd name="T5" fmla="*/ 23 h 47"/>
                <a:gd name="T6" fmla="*/ 49 w 39"/>
                <a:gd name="T7" fmla="*/ 17 h 47"/>
                <a:gd name="T8" fmla="*/ 22 w 39"/>
                <a:gd name="T9" fmla="*/ 44 h 47"/>
                <a:gd name="T10" fmla="*/ 51 w 39"/>
                <a:gd name="T11" fmla="*/ 72 h 47"/>
                <a:gd name="T12" fmla="*/ 71 w 39"/>
                <a:gd name="T13" fmla="*/ 66 h 47"/>
                <a:gd name="T14" fmla="*/ 73 w 39"/>
                <a:gd name="T15" fmla="*/ 85 h 47"/>
                <a:gd name="T16" fmla="*/ 49 w 39"/>
                <a:gd name="T17" fmla="*/ 89 h 47"/>
                <a:gd name="T18" fmla="*/ 0 w 39"/>
                <a:gd name="T19" fmla="*/ 44 h 47"/>
                <a:gd name="T20" fmla="*/ 49 w 39"/>
                <a:gd name="T21" fmla="*/ 0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9" h="47">
                  <a:moveTo>
                    <a:pt x="26" y="0"/>
                  </a:moveTo>
                  <a:cubicBezTo>
                    <a:pt x="30" y="0"/>
                    <a:pt x="34" y="1"/>
                    <a:pt x="39" y="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4" y="10"/>
                    <a:pt x="30" y="9"/>
                    <a:pt x="26" y="9"/>
                  </a:cubicBezTo>
                  <a:cubicBezTo>
                    <a:pt x="18" y="9"/>
                    <a:pt x="12" y="15"/>
                    <a:pt x="12" y="23"/>
                  </a:cubicBezTo>
                  <a:cubicBezTo>
                    <a:pt x="12" y="32"/>
                    <a:pt x="18" y="38"/>
                    <a:pt x="27" y="38"/>
                  </a:cubicBezTo>
                  <a:cubicBezTo>
                    <a:pt x="31" y="38"/>
                    <a:pt x="35" y="37"/>
                    <a:pt x="38" y="3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5" y="46"/>
                    <a:pt x="31" y="47"/>
                    <a:pt x="26" y="47"/>
                  </a:cubicBezTo>
                  <a:cubicBezTo>
                    <a:pt x="13" y="47"/>
                    <a:pt x="0" y="41"/>
                    <a:pt x="0" y="23"/>
                  </a:cubicBezTo>
                  <a:cubicBezTo>
                    <a:pt x="0" y="8"/>
                    <a:pt x="11" y="0"/>
                    <a:pt x="26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6977" y="249"/>
              <a:ext cx="58" cy="85"/>
            </a:xfrm>
            <a:custGeom>
              <a:avLst/>
              <a:gdLst>
                <a:gd name="T0" fmla="*/ 0 w 58"/>
                <a:gd name="T1" fmla="*/ 0 h 85"/>
                <a:gd name="T2" fmla="*/ 0 w 58"/>
                <a:gd name="T3" fmla="*/ 85 h 85"/>
                <a:gd name="T4" fmla="*/ 58 w 58"/>
                <a:gd name="T5" fmla="*/ 85 h 85"/>
                <a:gd name="T6" fmla="*/ 58 w 58"/>
                <a:gd name="T7" fmla="*/ 68 h 85"/>
                <a:gd name="T8" fmla="*/ 21 w 58"/>
                <a:gd name="T9" fmla="*/ 68 h 85"/>
                <a:gd name="T10" fmla="*/ 21 w 58"/>
                <a:gd name="T11" fmla="*/ 49 h 85"/>
                <a:gd name="T12" fmla="*/ 54 w 58"/>
                <a:gd name="T13" fmla="*/ 49 h 85"/>
                <a:gd name="T14" fmla="*/ 54 w 58"/>
                <a:gd name="T15" fmla="*/ 32 h 85"/>
                <a:gd name="T16" fmla="*/ 21 w 58"/>
                <a:gd name="T17" fmla="*/ 32 h 85"/>
                <a:gd name="T18" fmla="*/ 21 w 58"/>
                <a:gd name="T19" fmla="*/ 15 h 85"/>
                <a:gd name="T20" fmla="*/ 58 w 58"/>
                <a:gd name="T21" fmla="*/ 15 h 85"/>
                <a:gd name="T22" fmla="*/ 58 w 58"/>
                <a:gd name="T23" fmla="*/ 0 h 85"/>
                <a:gd name="T24" fmla="*/ 0 w 58"/>
                <a:gd name="T25" fmla="*/ 0 h 8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8" h="85">
                  <a:moveTo>
                    <a:pt x="0" y="0"/>
                  </a:moveTo>
                  <a:lnTo>
                    <a:pt x="0" y="85"/>
                  </a:lnTo>
                  <a:lnTo>
                    <a:pt x="58" y="85"/>
                  </a:lnTo>
                  <a:lnTo>
                    <a:pt x="58" y="68"/>
                  </a:lnTo>
                  <a:lnTo>
                    <a:pt x="21" y="68"/>
                  </a:lnTo>
                  <a:lnTo>
                    <a:pt x="21" y="49"/>
                  </a:lnTo>
                  <a:lnTo>
                    <a:pt x="54" y="49"/>
                  </a:lnTo>
                  <a:lnTo>
                    <a:pt x="54" y="32"/>
                  </a:lnTo>
                  <a:lnTo>
                    <a:pt x="21" y="32"/>
                  </a:lnTo>
                  <a:lnTo>
                    <a:pt x="21" y="15"/>
                  </a:lnTo>
                  <a:lnTo>
                    <a:pt x="58" y="15"/>
                  </a:lnTo>
                  <a:lnTo>
                    <a:pt x="5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6842" y="249"/>
              <a:ext cx="117" cy="85"/>
            </a:xfrm>
            <a:custGeom>
              <a:avLst/>
              <a:gdLst>
                <a:gd name="T0" fmla="*/ 96 w 117"/>
                <a:gd name="T1" fmla="*/ 0 h 85"/>
                <a:gd name="T2" fmla="*/ 85 w 117"/>
                <a:gd name="T3" fmla="*/ 64 h 85"/>
                <a:gd name="T4" fmla="*/ 72 w 117"/>
                <a:gd name="T5" fmla="*/ 0 h 85"/>
                <a:gd name="T6" fmla="*/ 45 w 117"/>
                <a:gd name="T7" fmla="*/ 0 h 85"/>
                <a:gd name="T8" fmla="*/ 35 w 117"/>
                <a:gd name="T9" fmla="*/ 64 h 85"/>
                <a:gd name="T10" fmla="*/ 33 w 117"/>
                <a:gd name="T11" fmla="*/ 64 h 85"/>
                <a:gd name="T12" fmla="*/ 24 w 117"/>
                <a:gd name="T13" fmla="*/ 0 h 85"/>
                <a:gd name="T14" fmla="*/ 0 w 117"/>
                <a:gd name="T15" fmla="*/ 0 h 85"/>
                <a:gd name="T16" fmla="*/ 19 w 117"/>
                <a:gd name="T17" fmla="*/ 85 h 85"/>
                <a:gd name="T18" fmla="*/ 48 w 117"/>
                <a:gd name="T19" fmla="*/ 85 h 85"/>
                <a:gd name="T20" fmla="*/ 59 w 117"/>
                <a:gd name="T21" fmla="*/ 19 h 85"/>
                <a:gd name="T22" fmla="*/ 70 w 117"/>
                <a:gd name="T23" fmla="*/ 85 h 85"/>
                <a:gd name="T24" fmla="*/ 98 w 117"/>
                <a:gd name="T25" fmla="*/ 85 h 85"/>
                <a:gd name="T26" fmla="*/ 117 w 117"/>
                <a:gd name="T27" fmla="*/ 0 h 85"/>
                <a:gd name="T28" fmla="*/ 96 w 117"/>
                <a:gd name="T29" fmla="*/ 0 h 8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7" h="85">
                  <a:moveTo>
                    <a:pt x="96" y="0"/>
                  </a:moveTo>
                  <a:lnTo>
                    <a:pt x="85" y="64"/>
                  </a:lnTo>
                  <a:lnTo>
                    <a:pt x="72" y="0"/>
                  </a:lnTo>
                  <a:lnTo>
                    <a:pt x="45" y="0"/>
                  </a:lnTo>
                  <a:lnTo>
                    <a:pt x="35" y="64"/>
                  </a:lnTo>
                  <a:lnTo>
                    <a:pt x="33" y="6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19" y="85"/>
                  </a:lnTo>
                  <a:lnTo>
                    <a:pt x="48" y="85"/>
                  </a:lnTo>
                  <a:lnTo>
                    <a:pt x="59" y="19"/>
                  </a:lnTo>
                  <a:lnTo>
                    <a:pt x="70" y="85"/>
                  </a:lnTo>
                  <a:lnTo>
                    <a:pt x="98" y="85"/>
                  </a:lnTo>
                  <a:lnTo>
                    <a:pt x="117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6766" y="247"/>
              <a:ext cx="63" cy="89"/>
            </a:xfrm>
            <a:custGeom>
              <a:avLst/>
              <a:gdLst>
                <a:gd name="T0" fmla="*/ 37 w 34"/>
                <a:gd name="T1" fmla="*/ 0 h 47"/>
                <a:gd name="T2" fmla="*/ 57 w 34"/>
                <a:gd name="T3" fmla="*/ 4 h 47"/>
                <a:gd name="T4" fmla="*/ 56 w 34"/>
                <a:gd name="T5" fmla="*/ 21 h 47"/>
                <a:gd name="T6" fmla="*/ 37 w 34"/>
                <a:gd name="T7" fmla="*/ 17 h 47"/>
                <a:gd name="T8" fmla="*/ 22 w 34"/>
                <a:gd name="T9" fmla="*/ 25 h 47"/>
                <a:gd name="T10" fmla="*/ 63 w 34"/>
                <a:gd name="T11" fmla="*/ 61 h 47"/>
                <a:gd name="T12" fmla="*/ 26 w 34"/>
                <a:gd name="T13" fmla="*/ 89 h 47"/>
                <a:gd name="T14" fmla="*/ 0 w 34"/>
                <a:gd name="T15" fmla="*/ 85 h 47"/>
                <a:gd name="T16" fmla="*/ 2 w 34"/>
                <a:gd name="T17" fmla="*/ 66 h 47"/>
                <a:gd name="T18" fmla="*/ 26 w 34"/>
                <a:gd name="T19" fmla="*/ 72 h 47"/>
                <a:gd name="T20" fmla="*/ 39 w 34"/>
                <a:gd name="T21" fmla="*/ 62 h 47"/>
                <a:gd name="T22" fmla="*/ 0 w 34"/>
                <a:gd name="T23" fmla="*/ 27 h 47"/>
                <a:gd name="T24" fmla="*/ 37 w 34"/>
                <a:gd name="T25" fmla="*/ 0 h 4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47">
                  <a:moveTo>
                    <a:pt x="20" y="0"/>
                  </a:moveTo>
                  <a:cubicBezTo>
                    <a:pt x="24" y="0"/>
                    <a:pt x="28" y="1"/>
                    <a:pt x="31" y="2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7" y="10"/>
                    <a:pt x="24" y="9"/>
                    <a:pt x="20" y="9"/>
                  </a:cubicBezTo>
                  <a:cubicBezTo>
                    <a:pt x="18" y="9"/>
                    <a:pt x="12" y="9"/>
                    <a:pt x="12" y="13"/>
                  </a:cubicBezTo>
                  <a:cubicBezTo>
                    <a:pt x="12" y="20"/>
                    <a:pt x="34" y="16"/>
                    <a:pt x="34" y="32"/>
                  </a:cubicBezTo>
                  <a:cubicBezTo>
                    <a:pt x="34" y="44"/>
                    <a:pt x="24" y="47"/>
                    <a:pt x="14" y="47"/>
                  </a:cubicBezTo>
                  <a:cubicBezTo>
                    <a:pt x="10" y="47"/>
                    <a:pt x="4" y="46"/>
                    <a:pt x="0" y="4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5" y="36"/>
                    <a:pt x="9" y="38"/>
                    <a:pt x="14" y="38"/>
                  </a:cubicBezTo>
                  <a:cubicBezTo>
                    <a:pt x="18" y="38"/>
                    <a:pt x="21" y="37"/>
                    <a:pt x="21" y="33"/>
                  </a:cubicBezTo>
                  <a:cubicBezTo>
                    <a:pt x="21" y="25"/>
                    <a:pt x="0" y="30"/>
                    <a:pt x="0" y="14"/>
                  </a:cubicBezTo>
                  <a:cubicBezTo>
                    <a:pt x="0" y="3"/>
                    <a:pt x="11" y="0"/>
                    <a:pt x="20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25650"/>
            <a:ext cx="1921669" cy="2387600"/>
          </a:xfrm>
        </p:spPr>
        <p:txBody>
          <a:bodyPr anchor="t">
            <a:normAutofit/>
          </a:bodyPr>
          <a:lstStyle>
            <a:lvl1pPr algn="l">
              <a:defRPr sz="4100" cap="all" baseline="0">
                <a:solidFill>
                  <a:schemeClr val="tx1"/>
                </a:solidFill>
              </a:defRPr>
            </a:lvl1pPr>
          </a:lstStyle>
          <a:p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</a:t>
            </a:r>
            <a:endParaRPr lang="en-GB" dirty="0"/>
          </a:p>
        </p:txBody>
      </p:sp>
      <p:sp>
        <p:nvSpPr>
          <p:cNvPr id="13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C949330-318E-495F-A37C-4849A6ACC1F6}" type="datetime1">
              <a:rPr lang="sv-SE"/>
              <a:pPr>
                <a:defRPr/>
              </a:pPr>
              <a:t>2019-11-08</a:t>
            </a:fld>
            <a:endParaRPr lang="en-GB" dirty="0"/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602457" y="260351"/>
            <a:ext cx="902494" cy="365125"/>
          </a:xfrm>
        </p:spPr>
        <p:txBody>
          <a:bodyPr/>
          <a:lstStyle>
            <a:lvl1pPr>
              <a:defRPr dirty="0" err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Gendiatur, que reiunt explabo.  Ut asinctiis de vollaccab isUnt et eos quatiandandi dellecu lluptiist</a:t>
            </a:r>
          </a:p>
        </p:txBody>
      </p:sp>
      <p:sp>
        <p:nvSpPr>
          <p:cNvPr id="15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36A1455-6A4A-4056-944B-E55FC4B204CA}" type="slidenum">
              <a:rPr lang="en-GB" altLang="cs-CZ"/>
              <a:pPr/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981141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 </a:t>
            </a:r>
            <a:r>
              <a:rPr lang="en-GB" dirty="0" err="1" smtClean="0"/>
              <a:t>på</a:t>
            </a:r>
            <a:r>
              <a:rPr lang="en-GB" dirty="0" smtClean="0"/>
              <a:t> </a:t>
            </a:r>
            <a:r>
              <a:rPr lang="en-GB" dirty="0" err="1" smtClean="0"/>
              <a:t>bakgrundstexten</a:t>
            </a:r>
            <a:endParaRPr lang="en-GB" dirty="0" smtClean="0"/>
          </a:p>
          <a:p>
            <a:pPr lvl="1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två</a:t>
            </a:r>
            <a:endParaRPr lang="en-GB" dirty="0" smtClean="0"/>
          </a:p>
          <a:p>
            <a:pPr lvl="2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tre</a:t>
            </a:r>
            <a:endParaRPr lang="en-GB" dirty="0" smtClean="0"/>
          </a:p>
          <a:p>
            <a:pPr lvl="3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fyra</a:t>
            </a:r>
            <a:endParaRPr lang="en-GB" dirty="0" smtClean="0"/>
          </a:p>
          <a:p>
            <a:pPr lvl="4"/>
            <a:r>
              <a:rPr lang="en-GB" dirty="0" err="1" smtClean="0"/>
              <a:t>Nivå</a:t>
            </a:r>
            <a:r>
              <a:rPr lang="en-GB" dirty="0" smtClean="0"/>
              <a:t> fem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C42788-C8AE-4A3A-A088-D2D3DE0FB72F}" type="datetime1">
              <a:rPr lang="sv-SE"/>
              <a:pPr>
                <a:defRPr/>
              </a:pPr>
              <a:t>2019-11-08</a:t>
            </a:fld>
            <a:endParaRPr lang="en-GB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endiatur, que reiunt explabo.  Ut asinctiis de vollaccab isUnt et eos quatiandandi dellecu lluptiist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D1DB91A-13D6-49E7-84A9-A72BB37B879F}" type="slidenum">
              <a:rPr lang="en-GB" altLang="cs-CZ"/>
              <a:pPr/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49325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5" name="Text Box 11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670732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107950" y="4356100"/>
            <a:ext cx="8928100" cy="1268413"/>
          </a:xfrm>
        </p:spPr>
        <p:txBody>
          <a:bodyPr lIns="91440" tIns="45720" rIns="91440" bIns="45720"/>
          <a:lstStyle>
            <a:lvl1pPr algn="ctr">
              <a:defRPr>
                <a:solidFill>
                  <a:srgbClr val="4D4D4D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670733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07950" y="3897313"/>
            <a:ext cx="8928100" cy="360362"/>
          </a:xfrm>
        </p:spPr>
        <p:txBody>
          <a:bodyPr lIns="91440" tIns="45720" rIns="91440" bIns="45720">
            <a:spAutoFit/>
          </a:bodyPr>
          <a:lstStyle>
            <a:lvl1pPr algn="ctr">
              <a:defRPr sz="1600"/>
            </a:lvl1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D0CF76-83B4-45EF-B0E7-209870BC959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" name="Rectangle 16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C00314-7684-401C-B2CB-ED7F07114F36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1442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90BA1E-F433-4BDB-B23C-34AB1D666B5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858EEE-3ECB-4513-B219-171485683319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26545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6EF497-C43D-448F-9079-00E7DB731D0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D49620-9ECB-4C38-8D8F-CDC54471CAD3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131561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093946-0127-44D7-B6AB-6DA092913C3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3C2FB7-F144-4681-B105-90A8C1F47D36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1962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CBF79E-B045-4C77-A7E2-1D215694851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5304F7-A47D-4451-9CF1-032F7178CE66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86567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5A828F-91D3-4774-918C-7B56CE2566E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8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2006DA-1C87-4393-BED3-DAC6FBE42081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371649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88BC84-3BB9-4098-A70D-3625F1908E7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4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84C65B-D5D1-4ADB-9A8C-B067E1195E34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856314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B26E6F-3AA3-4DB4-A903-9D0C5D5C545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3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1CF0F2-2D71-4B0E-AF84-9DA9ECE017A1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539898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6D6E0-2462-4326-BDD3-8CFA5AB18D6C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634C41-D979-4681-B29C-BF3560ACC290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066648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EEE2D2-0700-4F92-AD19-B128B6A2BB9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A389C3-A36E-44E3-A53F-4BCF5CC995FA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5234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BEC07C-A53A-4936-A61F-9B8CC9D5037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BCBC4E-3527-488D-B34B-27E06E7E378A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553877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70663" y="1089025"/>
            <a:ext cx="1997075" cy="5219700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574675" y="1089025"/>
            <a:ext cx="5843588" cy="5219700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E20F46-FE36-4101-8029-D4FC7478F545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40CC76-395F-4025-889A-60421CEF7B5E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77314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0DC832-F329-4672-B245-5675F8E14AB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8BD70-38B6-4C7E-B611-3E6D656DEB10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53417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3F12F-8E9F-4C0E-999D-2896E459679A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3C148A-D08D-41B6-8B56-71E295331AFB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88975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29B66D-229B-4FDD-B324-47089830B58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8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462FBD-EAA8-48C2-BEDD-924B5DA573DC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30554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E4EB15-B51F-4860-B995-A2AC97E54C1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4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300261-50CB-4DB0-B1BB-077D73F057C6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6012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08DAD8-9224-4B8F-9526-528C558F91E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3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13A994-220F-4D88-8EA1-D50E6799962F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250853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5A157C-EDF4-46E3-BD9F-DE177AD0BFD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DEF640-023A-45AD-8AB3-7D9BE62F87FA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76866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cs-CZ" noProof="0" smtClean="0"/>
              <a:t>Klepnutím na ikonu přidáte obrázek.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D744CD-FC5F-42A3-BFAB-CABCC751476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95495F-870C-4CD2-A5C6-88C730D39B1C}" type="datetime1">
              <a:rPr lang="sv-SE" smtClean="0"/>
              <a:t>2019-11-0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4310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" Target="../slides/slide15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" Target="../slides/slide15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836" name="Rectangle 68"/>
          <p:cNvSpPr>
            <a:spLocks noChangeArrowheads="1"/>
          </p:cNvSpPr>
          <p:nvPr/>
        </p:nvSpPr>
        <p:spPr bwMode="auto">
          <a:xfrm>
            <a:off x="107950" y="800100"/>
            <a:ext cx="8928100" cy="55086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0833" name="Rectangle 65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0837" name="Text Box 69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160848" name="Rectangle 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0" y="6632575"/>
            <a:ext cx="520700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8516E99C-B18A-46CF-B1E7-42534D39E9C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160849" name="Text Box 81">
            <a:hlinkClick r:id="" action="ppaction://hlinkshowjump?jump=previousslide"/>
          </p:cNvPr>
          <p:cNvSpPr txBox="1">
            <a:spLocks noChangeArrowheads="1"/>
          </p:cNvSpPr>
          <p:nvPr/>
        </p:nvSpPr>
        <p:spPr bwMode="auto">
          <a:xfrm>
            <a:off x="103188" y="6416675"/>
            <a:ext cx="544512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◄</a:t>
            </a:r>
          </a:p>
        </p:txBody>
      </p:sp>
      <p:sp>
        <p:nvSpPr>
          <p:cNvPr id="160850" name="Text Box 82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1032" name="Rectangle 83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089025"/>
            <a:ext cx="78486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1033" name="Rectangle 8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808163"/>
            <a:ext cx="7993063" cy="450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160913" name="Rectangle 14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3450" y="6632575"/>
            <a:ext cx="7277100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60914" name="Rectangle 14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632575"/>
            <a:ext cx="827088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38804247-EAEA-459F-A511-56467E2C45D2}" type="datetime1">
              <a:rPr lang="sv-SE" smtClean="0"/>
              <a:t>2019-11-08</a:t>
            </a:fld>
            <a:endParaRPr lang="sv-SE"/>
          </a:p>
        </p:txBody>
      </p:sp>
      <p:grpSp>
        <p:nvGrpSpPr>
          <p:cNvPr id="1036" name="Group 148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160917" name="Freeform 149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18" name="Oval 150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19" name="Freeform 151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0" name="Freeform 152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1" name="Freeform 153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2" name="Freeform 154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3" name="Freeform 155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160924" name="Rectangle 156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40" r:id="rId14"/>
    <p:sldLayoutId id="214748384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3000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0975" algn="l" rtl="0" eaLnBrk="0" fontAlgn="base" hangingPunct="0">
        <a:lnSpc>
          <a:spcPct val="110000"/>
        </a:lnSpc>
        <a:spcBef>
          <a:spcPct val="20000"/>
        </a:spcBef>
        <a:spcAft>
          <a:spcPct val="20000"/>
        </a:spcAft>
        <a:buChar char="•"/>
        <a:defRPr sz="1600">
          <a:solidFill>
            <a:schemeClr val="tx1"/>
          </a:solidFill>
          <a:latin typeface="+mn-lt"/>
        </a:defRPr>
      </a:lvl2pPr>
      <a:lvl3pPr marL="361950" indent="-1778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541338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4pPr>
      <a:lvl5pPr marL="720725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11779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16351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0923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25495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724" name="Rectangle 28"/>
          <p:cNvSpPr>
            <a:spLocks noChangeArrowheads="1"/>
          </p:cNvSpPr>
          <p:nvPr/>
        </p:nvSpPr>
        <p:spPr bwMode="auto">
          <a:xfrm>
            <a:off x="107950" y="800100"/>
            <a:ext cx="8928100" cy="55086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669725" name="Rectangle 29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669726" name="Text Box 30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669727" name="Rectangle 3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0" y="6632575"/>
            <a:ext cx="520700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CFA7DD95-AC88-4042-8029-9622FB3A70C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69728" name="Text Box 32">
            <a:hlinkClick r:id="" action="ppaction://hlinkshowjump?jump=previousslide"/>
          </p:cNvPr>
          <p:cNvSpPr txBox="1">
            <a:spLocks noChangeArrowheads="1"/>
          </p:cNvSpPr>
          <p:nvPr/>
        </p:nvSpPr>
        <p:spPr bwMode="auto">
          <a:xfrm>
            <a:off x="103188" y="6416675"/>
            <a:ext cx="544512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◄</a:t>
            </a:r>
          </a:p>
        </p:txBody>
      </p:sp>
      <p:sp>
        <p:nvSpPr>
          <p:cNvPr id="669729" name="Text Box 33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2056" name="Rectangle 34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089025"/>
            <a:ext cx="78486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2057" name="Rectangle 3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808163"/>
            <a:ext cx="7993063" cy="450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669732" name="Rectangle 3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3450" y="6632575"/>
            <a:ext cx="7277100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69733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632575"/>
            <a:ext cx="827088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119E56A3-4A06-4906-A1C4-DC2C7E92FC1E}" type="datetime1">
              <a:rPr lang="sv-SE" smtClean="0"/>
              <a:t>2019-11-08</a:t>
            </a:fld>
            <a:endParaRPr lang="sv-SE"/>
          </a:p>
        </p:txBody>
      </p:sp>
      <p:grpSp>
        <p:nvGrpSpPr>
          <p:cNvPr id="2060" name="Group 38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669735" name="Freeform 39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6" name="Oval 40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7" name="Freeform 41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8" name="Freeform 42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9" name="Freeform 43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40" name="Freeform 44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41" name="Freeform 45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669742" name="Rectangle 46">
            <a:hlinkClick r:id="rId13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3000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0975" algn="l" rtl="0" eaLnBrk="0" fontAlgn="base" hangingPunct="0">
        <a:lnSpc>
          <a:spcPct val="110000"/>
        </a:lnSpc>
        <a:spcBef>
          <a:spcPct val="20000"/>
        </a:spcBef>
        <a:spcAft>
          <a:spcPct val="20000"/>
        </a:spcAft>
        <a:buChar char="•"/>
        <a:defRPr sz="1600">
          <a:solidFill>
            <a:schemeClr val="tx1"/>
          </a:solidFill>
          <a:latin typeface="+mn-lt"/>
        </a:defRPr>
      </a:lvl2pPr>
      <a:lvl3pPr marL="361950" indent="-1778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541338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4pPr>
      <a:lvl5pPr marL="720725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11779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16351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0923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25495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hyperlink" Target="https://www.kr-stredocesky.cz/web/zivotni-prostredi/voda-berounka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2.png"/><Relationship Id="rId4" Type="http://schemas.openxmlformats.org/officeDocument/2006/relationships/hyperlink" Target="http://213.175.46.5:8080/SOP_BER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3.png"/><Relationship Id="rId4" Type="http://schemas.openxmlformats.org/officeDocument/2006/relationships/hyperlink" Target="https://www.vrv.cz/sopberounka/gisportal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s://www.google.cz/url?sa=i&amp;source=images&amp;cd=&amp;cad=rja&amp;uact=8&amp;ved=2ahUKEwjdsfSG66zbAhWoHJoKHR22D44QjRx6BAgBEAU&amp;url=http://www.ceskatelevize.cz/ct24/regiony/2489779-povoden-v-obecnici-znicila-most-pro-vodu-musi-lide-k-cisterne&amp;psig=AOvVaw2_opJ8VOA3QXfVSpkWZj4L&amp;ust=1527749087994652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6176241"/>
              </p:ext>
            </p:extLst>
          </p:nvPr>
        </p:nvGraphicFramePr>
        <p:xfrm>
          <a:off x="1574006" y="4692651"/>
          <a:ext cx="6111479" cy="2165351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0552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562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1686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effectLst/>
                        </a:rPr>
                        <a:t> </a:t>
                      </a:r>
                      <a:endParaRPr lang="cs-CZ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6817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cs-CZ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6817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556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7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dohospodářský rozvoj 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7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výstavba a.s</a:t>
                      </a:r>
                      <a:r>
                        <a:rPr lang="cs-CZ" sz="13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cs-CZ" sz="13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821" marR="0" marT="34387" marB="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700" b="1" dirty="0">
                          <a:solidFill>
                            <a:schemeClr val="bg1"/>
                          </a:solidFill>
                          <a:effectLst/>
                        </a:rPr>
                        <a:t>Sweco </a:t>
                      </a:r>
                      <a:r>
                        <a:rPr lang="cs-CZ" sz="1700" b="1" dirty="0" smtClean="0">
                          <a:solidFill>
                            <a:schemeClr val="bg1"/>
                          </a:solidFill>
                          <a:effectLst/>
                        </a:rPr>
                        <a:t>Hydroprojekt </a:t>
                      </a:r>
                      <a:r>
                        <a:rPr lang="cs-CZ" sz="1700" b="1" dirty="0">
                          <a:solidFill>
                            <a:schemeClr val="bg1"/>
                          </a:solidFill>
                          <a:effectLst/>
                        </a:rPr>
                        <a:t>a.s.</a:t>
                      </a:r>
                      <a:endParaRPr lang="cs-CZ" sz="17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3438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9287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1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břežní 4, 150 56 Praha 5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b="0" dirty="0" smtClean="0">
                          <a:solidFill>
                            <a:schemeClr val="bg1"/>
                          </a:solidFill>
                          <a:effectLst/>
                        </a:rPr>
                        <a:t>www. vrv.cz</a:t>
                      </a:r>
                      <a:endParaRPr lang="cs-CZ" sz="1100" b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Ústředí Praha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Táborská 31, Praha 4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www.sweco.cz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 rtlCol="0">
            <a:normAutofit fontScale="900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dirty="0"/>
              <a:t/>
            </a:r>
            <a:br>
              <a:rPr lang="en-US" dirty="0"/>
            </a:br>
            <a:r>
              <a:rPr lang="cs-CZ" sz="2800" dirty="0"/>
              <a:t/>
            </a:r>
            <a:br>
              <a:rPr lang="cs-CZ" sz="2800" dirty="0"/>
            </a:br>
            <a:r>
              <a:rPr lang="cs-CZ" sz="2800" dirty="0" smtClean="0"/>
              <a:t/>
            </a:r>
            <a:br>
              <a:rPr lang="cs-CZ" sz="2800" dirty="0" smtClean="0"/>
            </a:br>
            <a:r>
              <a:rPr lang="cs-CZ" sz="2800" dirty="0" smtClean="0"/>
              <a:t/>
            </a:r>
            <a:br>
              <a:rPr lang="cs-CZ" sz="2800" dirty="0" smtClean="0"/>
            </a:br>
            <a:r>
              <a:rPr lang="cs-CZ" sz="2800" dirty="0"/>
              <a:t/>
            </a:r>
            <a:br>
              <a:rPr lang="cs-CZ" sz="2800" dirty="0"/>
            </a:br>
            <a:r>
              <a:rPr lang="cs-CZ" sz="2800" dirty="0" smtClean="0"/>
              <a:t/>
            </a:r>
            <a:br>
              <a:rPr lang="cs-CZ" sz="2800" dirty="0" smtClean="0"/>
            </a:br>
            <a:endParaRPr lang="sv-SE" sz="2800" dirty="0"/>
          </a:p>
        </p:txBody>
      </p:sp>
      <p:sp>
        <p:nvSpPr>
          <p:cNvPr id="17418" name="Platshållare för bildnummer 2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fld id="{1FA35273-ECC5-45B7-8E32-DF71110FA1BD}" type="slidenum">
              <a:rPr lang="en-GB" altLang="cs-CZ"/>
              <a:pPr/>
              <a:t>1</a:t>
            </a:fld>
            <a:endParaRPr lang="en-GB" altLang="cs-CZ"/>
          </a:p>
        </p:txBody>
      </p:sp>
      <p:sp>
        <p:nvSpPr>
          <p:cNvPr id="17420" name="TextovéPole 21"/>
          <p:cNvSpPr txBox="1">
            <a:spLocks noChangeArrowheads="1"/>
          </p:cNvSpPr>
          <p:nvPr/>
        </p:nvSpPr>
        <p:spPr bwMode="auto">
          <a:xfrm>
            <a:off x="1672800" y="3478886"/>
            <a:ext cx="573524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algn="ctr" eaLnBrk="1" hangingPunct="1"/>
            <a:r>
              <a:rPr lang="cs-CZ" altLang="cs-CZ" sz="2600" i="1" dirty="0" smtClean="0">
                <a:solidFill>
                  <a:schemeClr val="bg1"/>
                </a:solidFill>
              </a:rPr>
              <a:t>Praha 16.10.2019</a:t>
            </a:r>
            <a:endParaRPr lang="cs-CZ" altLang="cs-CZ" sz="2600" i="1" dirty="0">
              <a:solidFill>
                <a:schemeClr val="bg1"/>
              </a:solidFill>
            </a:endParaRPr>
          </a:p>
        </p:txBody>
      </p:sp>
      <p:sp>
        <p:nvSpPr>
          <p:cNvPr id="17421" name="TextovéPole 22"/>
          <p:cNvSpPr txBox="1">
            <a:spLocks noChangeArrowheads="1"/>
          </p:cNvSpPr>
          <p:nvPr/>
        </p:nvSpPr>
        <p:spPr bwMode="auto">
          <a:xfrm>
            <a:off x="0" y="4086226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algn="ctr" eaLnBrk="1" hangingPunct="1"/>
            <a:r>
              <a:rPr lang="cs-CZ" altLang="cs-CZ" sz="2600" b="1" dirty="0" smtClean="0">
                <a:solidFill>
                  <a:schemeClr val="bg1"/>
                </a:solidFill>
                <a:latin typeface="+mj-lt"/>
              </a:rPr>
              <a:t>Společnost „SHDP </a:t>
            </a:r>
            <a:r>
              <a:rPr lang="cs-CZ" altLang="cs-CZ" sz="2600" b="1" dirty="0">
                <a:solidFill>
                  <a:schemeClr val="bg1"/>
                </a:solidFill>
                <a:latin typeface="+mj-lt"/>
              </a:rPr>
              <a:t>+ </a:t>
            </a:r>
            <a:r>
              <a:rPr lang="cs-CZ" altLang="cs-CZ" sz="2600" b="1" dirty="0" smtClean="0">
                <a:solidFill>
                  <a:schemeClr val="bg1"/>
                </a:solidFill>
                <a:latin typeface="+mj-lt"/>
              </a:rPr>
              <a:t>VRV“</a:t>
            </a:r>
            <a:r>
              <a:rPr lang="cs-CZ" altLang="cs-CZ" sz="2600" b="1" dirty="0" smtClean="0">
                <a:latin typeface="+mj-lt"/>
              </a:rPr>
              <a:t>V</a:t>
            </a:r>
            <a:endParaRPr lang="cs-CZ" altLang="cs-CZ" sz="2600" dirty="0">
              <a:latin typeface="+mj-lt"/>
            </a:endParaRPr>
          </a:p>
        </p:txBody>
      </p:sp>
      <p:grpSp>
        <p:nvGrpSpPr>
          <p:cNvPr id="17423" name="Skupina 6"/>
          <p:cNvGrpSpPr>
            <a:grpSpLocks/>
          </p:cNvGrpSpPr>
          <p:nvPr/>
        </p:nvGrpSpPr>
        <p:grpSpPr bwMode="auto">
          <a:xfrm>
            <a:off x="5572126" y="4818063"/>
            <a:ext cx="1376138" cy="431800"/>
            <a:chOff x="6881843" y="4801551"/>
            <a:chExt cx="1514950" cy="432000"/>
          </a:xfrm>
        </p:grpSpPr>
        <p:sp>
          <p:nvSpPr>
            <p:cNvPr id="24" name="Obdélník 23"/>
            <p:cNvSpPr/>
            <p:nvPr/>
          </p:nvSpPr>
          <p:spPr>
            <a:xfrm>
              <a:off x="6881843" y="4801551"/>
              <a:ext cx="1514950" cy="43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7426" name="Obrázek 26"/>
            <p:cNvPicPr>
              <a:picLocks noChangeAspect="1"/>
            </p:cNvPicPr>
            <p:nvPr/>
          </p:nvPicPr>
          <p:blipFill>
            <a:blip r:embed="rId3" cstate="screen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8103" y="4837552"/>
              <a:ext cx="1242430" cy="359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7424" name="Obrázek 5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4390" y="4818063"/>
            <a:ext cx="60347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ubrik 3"/>
          <p:cNvSpPr txBox="1">
            <a:spLocks/>
          </p:cNvSpPr>
          <p:nvPr/>
        </p:nvSpPr>
        <p:spPr>
          <a:xfrm>
            <a:off x="0" y="908720"/>
            <a:ext cx="9099947" cy="263404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1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cs-CZ" sz="3000" dirty="0" smtClean="0"/>
          </a:p>
          <a:p>
            <a:pPr algn="ctr">
              <a:spcAft>
                <a:spcPts val="600"/>
              </a:spcAft>
            </a:pPr>
            <a:r>
              <a:rPr lang="cs-CZ" sz="2800" b="1" dirty="0" smtClean="0">
                <a:solidFill>
                  <a:schemeClr val="bg1"/>
                </a:solidFill>
              </a:rPr>
              <a:t>Studie </a:t>
            </a:r>
            <a:r>
              <a:rPr lang="cs-CZ" sz="2800" b="1" dirty="0">
                <a:solidFill>
                  <a:schemeClr val="bg1"/>
                </a:solidFill>
              </a:rPr>
              <a:t>odtokových poměrů </a:t>
            </a:r>
            <a:endParaRPr lang="cs-CZ" sz="2800" b="1" dirty="0" smtClean="0">
              <a:solidFill>
                <a:schemeClr val="bg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cs-CZ" sz="2800" b="1" dirty="0">
                <a:solidFill>
                  <a:schemeClr val="bg1"/>
                </a:solidFill>
              </a:rPr>
              <a:t>včetně návrhů možných </a:t>
            </a:r>
          </a:p>
          <a:p>
            <a:pPr algn="ctr">
              <a:spcAft>
                <a:spcPts val="600"/>
              </a:spcAft>
            </a:pPr>
            <a:r>
              <a:rPr lang="cs-CZ" sz="2800" b="1" dirty="0">
                <a:solidFill>
                  <a:schemeClr val="bg1"/>
                </a:solidFill>
              </a:rPr>
              <a:t>protipovodňových </a:t>
            </a:r>
            <a:r>
              <a:rPr lang="cs-CZ" sz="2800" b="1" dirty="0" smtClean="0">
                <a:solidFill>
                  <a:schemeClr val="bg1"/>
                </a:solidFill>
              </a:rPr>
              <a:t>opatření</a:t>
            </a:r>
          </a:p>
          <a:p>
            <a:pPr algn="ctr">
              <a:spcAft>
                <a:spcPts val="600"/>
              </a:spcAft>
            </a:pPr>
            <a:r>
              <a:rPr lang="cs-CZ" sz="2800" b="1" dirty="0" smtClean="0">
                <a:solidFill>
                  <a:schemeClr val="bg1"/>
                </a:solidFill>
              </a:rPr>
              <a:t>v povodí vodního toku Berounky</a:t>
            </a:r>
            <a:endParaRPr lang="sv-SE" sz="2800" b="1" dirty="0">
              <a:solidFill>
                <a:schemeClr val="bg1"/>
              </a:solidFill>
            </a:endParaRPr>
          </a:p>
        </p:txBody>
      </p:sp>
      <p:pic>
        <p:nvPicPr>
          <p:cNvPr id="10242" name="Picture 2" descr="Z:\PROJEKTY\2018_SOP_v_povodi_Berounky\02_Podklady\01_loga\Logo OPŽP\Banner OPZP_Fond soudrznosti\JPG\CZ_RO_B_C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2" y="82303"/>
            <a:ext cx="3844677" cy="1201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Obrázek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0072" y="240857"/>
            <a:ext cx="3822690" cy="74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178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0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průběh projednání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135427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Dotčení vlastníci – průvodní dopis žádosti (vzor s SOP Výrovka ?)</a:t>
            </a:r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9754" y="1244820"/>
            <a:ext cx="3830238" cy="5379623"/>
          </a:xfrm>
          <a:prstGeom prst="rect">
            <a:avLst/>
          </a:prstGeom>
        </p:spPr>
      </p:pic>
      <p:pic>
        <p:nvPicPr>
          <p:cNvPr id="9" name="Obráze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30600" y="1244821"/>
            <a:ext cx="3671962" cy="5370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44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1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průběh projednání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135427" cy="456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Dotčení vlastníci – stanovisko vlastníka (vzor s SOP Výrovka ?)</a:t>
            </a: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3513" y="1222869"/>
            <a:ext cx="4605442" cy="5398388"/>
          </a:xfrm>
          <a:prstGeom prst="rect">
            <a:avLst/>
          </a:prstGeom>
        </p:spPr>
      </p:pic>
      <p:pic>
        <p:nvPicPr>
          <p:cNvPr id="6" name="Obráze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436" y="1226978"/>
            <a:ext cx="3649687" cy="5394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032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2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průběh projednání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738767" cy="9618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Odkaz na webové stránky - stránky zadavatele studie:</a:t>
            </a:r>
          </a:p>
          <a:p>
            <a:pPr lvl="0">
              <a:lnSpc>
                <a:spcPct val="150000"/>
              </a:lnSpc>
              <a:spcAft>
                <a:spcPts val="300"/>
              </a:spcAft>
            </a:pPr>
            <a:r>
              <a:rPr lang="cs-CZ" u="sng" dirty="0">
                <a:hlinkClick r:id="rId4"/>
              </a:rPr>
              <a:t>https://www.kr-stredocesky.cz/web/zivotni-prostredi/voda-berounka</a:t>
            </a:r>
            <a:r>
              <a:rPr lang="cs-CZ" b="1" u="sng" dirty="0" smtClean="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15570" y="1741082"/>
            <a:ext cx="4320480" cy="2151403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542" y="1741082"/>
            <a:ext cx="4312102" cy="2191974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7744" y="3717032"/>
            <a:ext cx="4320480" cy="275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913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3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průběh projednání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738767" cy="9618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Odkaz na webové stránky - stránky zpracovatele studie:</a:t>
            </a:r>
            <a:endParaRPr lang="cs-CZ" b="1" dirty="0">
              <a:solidFill>
                <a:srgbClr val="000000"/>
              </a:solidFill>
            </a:endParaRPr>
          </a:p>
          <a:p>
            <a:pPr lvl="0">
              <a:lnSpc>
                <a:spcPct val="150000"/>
              </a:lnSpc>
              <a:spcAft>
                <a:spcPts val="300"/>
              </a:spcAft>
            </a:pPr>
            <a:r>
              <a:rPr lang="cs-CZ" u="sng" dirty="0" smtClean="0">
                <a:hlinkClick r:id="rId4"/>
              </a:rPr>
              <a:t>http</a:t>
            </a:r>
            <a:r>
              <a:rPr lang="cs-CZ" u="sng" dirty="0">
                <a:hlinkClick r:id="rId4"/>
              </a:rPr>
              <a:t>://213.175.46.5:8080/SOP_BER</a:t>
            </a:r>
            <a:r>
              <a:rPr lang="cs-CZ" u="sng" dirty="0" smtClean="0">
                <a:hlinkClick r:id="rId4"/>
              </a:rPr>
              <a:t>/</a:t>
            </a:r>
            <a:endParaRPr lang="cs-CZ" u="sng" dirty="0" smtClean="0"/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5331" y="1732245"/>
            <a:ext cx="6975491" cy="4871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117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4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průběh projednání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738767" cy="9618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Odkaz na webové stránky - mapová prohlížečka navrhovaných opatření:</a:t>
            </a:r>
            <a:endParaRPr lang="cs-CZ" b="1" dirty="0">
              <a:solidFill>
                <a:srgbClr val="000000"/>
              </a:solidFill>
            </a:endParaRPr>
          </a:p>
          <a:p>
            <a:pPr lvl="0">
              <a:lnSpc>
                <a:spcPct val="150000"/>
              </a:lnSpc>
              <a:spcAft>
                <a:spcPts val="300"/>
              </a:spcAft>
            </a:pPr>
            <a:r>
              <a:rPr lang="cs-CZ" u="sng" dirty="0" smtClean="0">
                <a:hlinkClick r:id="rId4"/>
              </a:rPr>
              <a:t>https</a:t>
            </a:r>
            <a:r>
              <a:rPr lang="cs-CZ" u="sng" dirty="0">
                <a:hlinkClick r:id="rId4"/>
              </a:rPr>
              <a:t>://www.vrv.cz/sopberounka/gisportal</a:t>
            </a:r>
            <a:endParaRPr lang="cs-CZ" b="1" u="sng" dirty="0" smtClean="0">
              <a:solidFill>
                <a:srgbClr val="000000"/>
              </a:solidFill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245" y="1732246"/>
            <a:ext cx="8605657" cy="5042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49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Výsledek obrázku pro obecnice povodeň 2018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5929" y="914032"/>
            <a:ext cx="5456709" cy="3069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7BBF2C-CD50-49C6-B4A3-5462C1157EA2}" type="slidenum">
              <a:rPr lang="sv-SE"/>
              <a:pPr>
                <a:defRPr/>
              </a:pPr>
              <a:t>15</a:t>
            </a:fld>
            <a:endParaRPr lang="sv-SE" dirty="0"/>
          </a:p>
        </p:txBody>
      </p:sp>
      <p:sp>
        <p:nvSpPr>
          <p:cNvPr id="36867" name="TextovéPole 1"/>
          <p:cNvSpPr txBox="1">
            <a:spLocks noChangeArrowheads="1"/>
          </p:cNvSpPr>
          <p:nvPr/>
        </p:nvSpPr>
        <p:spPr bwMode="auto">
          <a:xfrm>
            <a:off x="392906" y="1949054"/>
            <a:ext cx="824388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eaLnBrk="1" hangingPunct="1"/>
            <a:endParaRPr lang="cs-CZ" altLang="cs-CZ" b="1"/>
          </a:p>
          <a:p>
            <a:pPr eaLnBrk="1" hangingPunct="1"/>
            <a:endParaRPr lang="cs-CZ" altLang="cs-CZ" b="1"/>
          </a:p>
          <a:p>
            <a:pPr eaLnBrk="1" hangingPunct="1"/>
            <a:endParaRPr lang="cs-CZ" altLang="cs-CZ" b="1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414660" y="2204864"/>
            <a:ext cx="3086671" cy="798562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cs-CZ" dirty="0" smtClean="0"/>
              <a:t>DĚKUJEME </a:t>
            </a:r>
            <a:br>
              <a:rPr lang="cs-CZ" dirty="0" smtClean="0"/>
            </a:br>
            <a:r>
              <a:rPr lang="cs-CZ" dirty="0" smtClean="0"/>
              <a:t>ZA POZORNOST</a:t>
            </a:r>
            <a:endParaRPr lang="cs-CZ" dirty="0"/>
          </a:p>
        </p:txBody>
      </p:sp>
      <p:pic>
        <p:nvPicPr>
          <p:cNvPr id="36869" name="Obrázek 1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5950" y="4552951"/>
            <a:ext cx="932260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" name="Tabulk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725272"/>
              </p:ext>
            </p:extLst>
          </p:nvPr>
        </p:nvGraphicFramePr>
        <p:xfrm>
          <a:off x="1261467" y="4376738"/>
          <a:ext cx="6506766" cy="1624013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2528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539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626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 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51128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51128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671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3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dohospodářský rozvoj a výstavba a.s</a:t>
                      </a:r>
                      <a:r>
                        <a:rPr lang="cs-CZ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821" marR="0" marT="25790" marB="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b="1" dirty="0" err="1">
                          <a:effectLst/>
                        </a:rPr>
                        <a:t>Sweco</a:t>
                      </a:r>
                      <a:r>
                        <a:rPr lang="cs-CZ" sz="1300" b="1" dirty="0">
                          <a:effectLst/>
                        </a:rPr>
                        <a:t> </a:t>
                      </a:r>
                      <a:r>
                        <a:rPr lang="cs-CZ" sz="1300" b="1" dirty="0" err="1" smtClean="0">
                          <a:effectLst/>
                        </a:rPr>
                        <a:t>Hydroprojekt</a:t>
                      </a:r>
                      <a:r>
                        <a:rPr lang="cs-CZ" sz="1300" b="1" dirty="0" smtClean="0">
                          <a:effectLst/>
                        </a:rPr>
                        <a:t> </a:t>
                      </a:r>
                      <a:r>
                        <a:rPr lang="cs-CZ" sz="1300" b="1" dirty="0">
                          <a:effectLst/>
                        </a:rPr>
                        <a:t>a.s.</a:t>
                      </a:r>
                      <a:endParaRPr lang="cs-CZ" sz="13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2579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4465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břežní 4, 150 56 Praha 5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b="0" dirty="0" smtClean="0">
                          <a:effectLst/>
                        </a:rPr>
                        <a:t>www. vrv.cz</a:t>
                      </a:r>
                      <a:endParaRPr lang="cs-CZ" sz="800" b="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 </a:t>
                      </a:r>
                      <a:endParaRPr lang="cs-CZ" sz="8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 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Ústředí Praha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Táborská 31, Praha 4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www.sweco.cz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 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36877" name="Obrázek 2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4391" y="4470797"/>
            <a:ext cx="540544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Skupina 8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0" name="Obdélník 9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1" name="Obrázek 9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Obrázek 8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Obdélník 13"/>
          <p:cNvSpPr/>
          <p:nvPr/>
        </p:nvSpPr>
        <p:spPr>
          <a:xfrm>
            <a:off x="7173449" y="3629580"/>
            <a:ext cx="1606153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>
              <a:spcAft>
                <a:spcPts val="200"/>
              </a:spcAft>
            </a:pPr>
            <a:r>
              <a:rPr lang="cs-CZ" sz="1200" i="1" cap="all" dirty="0" smtClean="0">
                <a:solidFill>
                  <a:srgbClr val="000000"/>
                </a:solidFill>
                <a:latin typeface="Sweco Sans" charset="-18"/>
              </a:rPr>
              <a:t>Obecnice 05/2018</a:t>
            </a:r>
            <a:endParaRPr lang="cs-CZ" sz="1200" i="1" dirty="0">
              <a:solidFill>
                <a:srgbClr val="000000"/>
              </a:solidFill>
              <a:latin typeface="Sweco Sans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639295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2</a:t>
            </a:fld>
            <a:endParaRPr lang="sv-SE" dirty="0"/>
          </a:p>
        </p:txBody>
      </p:sp>
      <p:sp>
        <p:nvSpPr>
          <p:cNvPr id="19461" name="TextovéPole 1"/>
          <p:cNvSpPr txBox="1">
            <a:spLocks noChangeArrowheads="1"/>
          </p:cNvSpPr>
          <p:nvPr/>
        </p:nvSpPr>
        <p:spPr bwMode="auto">
          <a:xfrm>
            <a:off x="271884" y="989906"/>
            <a:ext cx="8243888" cy="1818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eaLnBrk="1" hangingPunct="1"/>
            <a:r>
              <a:rPr lang="cs-CZ" altLang="cs-CZ" dirty="0"/>
              <a:t>Objednatel studie: </a:t>
            </a:r>
            <a:r>
              <a:rPr lang="cs-CZ" altLang="cs-CZ" dirty="0" smtClean="0"/>
              <a:t>	</a:t>
            </a:r>
            <a:r>
              <a:rPr lang="cs-CZ" b="1" dirty="0" smtClean="0">
                <a:solidFill>
                  <a:srgbClr val="000000"/>
                </a:solidFill>
              </a:rPr>
              <a:t>Středočeský kraj</a:t>
            </a:r>
            <a:endParaRPr lang="cs-CZ" altLang="cs-CZ" dirty="0">
              <a:solidFill>
                <a:srgbClr val="000000"/>
              </a:solidFill>
            </a:endParaRPr>
          </a:p>
          <a:p>
            <a:pPr eaLnBrk="1" hangingPunct="1"/>
            <a:endParaRPr lang="cs-CZ" altLang="cs-CZ" dirty="0" smtClean="0"/>
          </a:p>
          <a:p>
            <a:pPr eaLnBrk="1" hangingPunct="1"/>
            <a:r>
              <a:rPr lang="cs-CZ" altLang="cs-CZ" dirty="0" smtClean="0"/>
              <a:t>Zpracovatel studie: </a:t>
            </a:r>
            <a:r>
              <a:rPr lang="cs-CZ" altLang="cs-CZ" b="1" dirty="0" smtClean="0"/>
              <a:t> 	</a:t>
            </a:r>
            <a:r>
              <a:rPr lang="cs-CZ" altLang="cs-CZ" b="1" dirty="0" smtClean="0">
                <a:solidFill>
                  <a:srgbClr val="000000"/>
                </a:solidFill>
              </a:rPr>
              <a:t>Společnost </a:t>
            </a:r>
            <a:r>
              <a:rPr lang="cs-CZ" altLang="cs-CZ" b="1" dirty="0">
                <a:solidFill>
                  <a:srgbClr val="000000"/>
                </a:solidFill>
              </a:rPr>
              <a:t>„SHDP + </a:t>
            </a:r>
            <a:r>
              <a:rPr lang="cs-CZ" altLang="cs-CZ" b="1" dirty="0" smtClean="0">
                <a:solidFill>
                  <a:srgbClr val="000000"/>
                </a:solidFill>
              </a:rPr>
              <a:t>VRV“</a:t>
            </a:r>
            <a:endParaRPr lang="cs-CZ" altLang="cs-CZ" b="1" dirty="0">
              <a:solidFill>
                <a:srgbClr val="000000"/>
              </a:solidFill>
            </a:endParaRPr>
          </a:p>
          <a:p>
            <a:pPr eaLnBrk="1" hangingPunct="1"/>
            <a:endParaRPr lang="cs-CZ" altLang="cs-CZ" dirty="0"/>
          </a:p>
          <a:p>
            <a:pPr eaLnBrk="1" hangingPunct="1"/>
            <a:r>
              <a:rPr lang="cs-CZ" altLang="cs-CZ" dirty="0"/>
              <a:t>Zahájení prací na studii: </a:t>
            </a:r>
            <a:r>
              <a:rPr lang="cs-CZ" altLang="cs-CZ" dirty="0" smtClean="0"/>
              <a:t>	</a:t>
            </a:r>
            <a:r>
              <a:rPr lang="cs-CZ" altLang="cs-CZ" b="1" dirty="0" smtClean="0">
                <a:solidFill>
                  <a:srgbClr val="000000"/>
                </a:solidFill>
              </a:rPr>
              <a:t>04/2018</a:t>
            </a:r>
            <a:endParaRPr lang="cs-CZ" altLang="cs-CZ" sz="1500" b="1" dirty="0">
              <a:solidFill>
                <a:srgbClr val="000000"/>
              </a:solidFill>
            </a:endParaRPr>
          </a:p>
          <a:p>
            <a:pPr algn="just">
              <a:spcBef>
                <a:spcPts val="450"/>
              </a:spcBef>
              <a:spcAft>
                <a:spcPts val="450"/>
              </a:spcAft>
            </a:pPr>
            <a:endParaRPr lang="cs-CZ" altLang="cs-CZ" b="1" dirty="0"/>
          </a:p>
        </p:txBody>
      </p:sp>
      <p:pic>
        <p:nvPicPr>
          <p:cNvPr id="19463" name="Obrázek 8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4806" y="1592758"/>
            <a:ext cx="540544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5" name="Obrázek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4777" y="1586061"/>
            <a:ext cx="931069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5237560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Základní informace o projektu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5" name="Obdélník 4"/>
          <p:cNvSpPr/>
          <p:nvPr/>
        </p:nvSpPr>
        <p:spPr>
          <a:xfrm>
            <a:off x="255835" y="3140968"/>
            <a:ext cx="854786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cs-CZ" b="1" u="sng" dirty="0" smtClean="0">
                <a:solidFill>
                  <a:srgbClr val="000000"/>
                </a:solidFill>
                <a:latin typeface="Sweco Sans" charset="-18"/>
              </a:rPr>
              <a:t>OPŽP – podporované oblasti</a:t>
            </a: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Prioritní osa 1 (čistota vody) </a:t>
            </a: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– Zlepšování kvality vod a snižování rizika povodní</a:t>
            </a:r>
          </a:p>
          <a:p>
            <a:pPr lvl="0"/>
            <a:endParaRPr lang="cs-CZ" b="1" dirty="0" smtClean="0">
              <a:solidFill>
                <a:srgbClr val="000000"/>
              </a:solidFill>
              <a:latin typeface="Sweco Sans" charset="-18"/>
            </a:endParaRP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Cíl dílčí oblasti 1.4 – podpořit preventivní protipovodňová opatření:</a:t>
            </a:r>
          </a:p>
          <a:p>
            <a:pPr lvl="0" algn="just"/>
            <a:r>
              <a:rPr lang="cs-CZ" dirty="0" smtClean="0"/>
              <a:t>Studie </a:t>
            </a:r>
            <a:r>
              <a:rPr lang="cs-CZ" dirty="0"/>
              <a:t>odtokových poměrů včetně návrhů možných protipovodňových opatření v oblastech s potenciálním povodňovým </a:t>
            </a:r>
            <a:r>
              <a:rPr lang="cs-CZ" dirty="0" smtClean="0"/>
              <a:t>rizikem, </a:t>
            </a:r>
            <a:r>
              <a:rPr lang="cs-CZ" dirty="0"/>
              <a:t>jako podklad pro následnou realizaci vybraných protipovodňových opatření včetně přírodě blízkých protipovodňových opatření.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16" name="Obrázek 15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493" y="943294"/>
            <a:ext cx="2188210" cy="427990"/>
          </a:xfrm>
          <a:prstGeom prst="rect">
            <a:avLst/>
          </a:prstGeom>
        </p:spPr>
      </p:pic>
      <p:pic>
        <p:nvPicPr>
          <p:cNvPr id="21" name="Picture 2" descr="Z:\PROJEKTY\2018_SOP_v_povodi_Berounky\02_Podklady\01_loga\Logo OPŽP\Banner OPZP_Fond soudrznosti\JPG\CZ_RO_B_C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5409" y="3140968"/>
            <a:ext cx="2407071" cy="75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212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3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Obsah prezentace 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353318" y="980728"/>
            <a:ext cx="8539161" cy="9105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Etapa C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Dosavadní průběh projednání studie</a:t>
            </a:r>
          </a:p>
        </p:txBody>
      </p:sp>
    </p:spTree>
    <p:extLst>
      <p:ext uri="{BB962C8B-B14F-4D97-AF65-F5344CB8AC3E}">
        <p14:creationId xmlns:p14="http://schemas.microsoft.com/office/powerpoint/2010/main" val="404387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4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</a:t>
            </a:r>
            <a:r>
              <a:rPr lang="cs-CZ" kern="0" dirty="0" smtClean="0"/>
              <a:t>průběh </a:t>
            </a:r>
            <a:r>
              <a:rPr lang="cs-CZ" kern="0" dirty="0"/>
              <a:t>projednání :</a:t>
            </a:r>
            <a:r>
              <a:rPr lang="cs-CZ" kern="0" dirty="0" smtClean="0"/>
              <a:t/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768915" cy="2272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Předpokládaný harmonogram projednání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Povodí Vltavy, Lesy ČR, AOPK ČR				- září 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Prezentace dotčeným obcím, projednání			- říjen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Obeslání dotčených vlastníků a uživatelů pozemků		- listopad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Vyhodnocení projednání, odevzdání etapy C		- prosinec</a:t>
            </a:r>
            <a:endParaRPr lang="cs-CZ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798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5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</a:t>
            </a:r>
            <a:r>
              <a:rPr lang="cs-CZ" kern="0" dirty="0" smtClean="0"/>
              <a:t>průběh </a:t>
            </a:r>
            <a:r>
              <a:rPr lang="cs-CZ" kern="0" dirty="0"/>
              <a:t>projednání :</a:t>
            </a:r>
            <a:r>
              <a:rPr lang="cs-CZ" kern="0" dirty="0" smtClean="0"/>
              <a:t/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768915" cy="45166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Povodí Vltavy </a:t>
            </a:r>
            <a:r>
              <a:rPr lang="cs-CZ" b="1" u="sng" dirty="0" err="1" smtClean="0">
                <a:solidFill>
                  <a:srgbClr val="000000"/>
                </a:solidFill>
              </a:rPr>
              <a:t>s.p</a:t>
            </a:r>
            <a:r>
              <a:rPr lang="cs-CZ" b="1" u="sng" dirty="0" smtClean="0">
                <a:solidFill>
                  <a:srgbClr val="000000"/>
                </a:solidFill>
              </a:rPr>
              <a:t>.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Prezentace návrhů dne 1.10 za účasti GŘ, ZB, PS Beroun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Doporučení neobesílat vlastníky dotčené návrhem významných VN, které jsou předmětem SO 03 (řešeno jinou formou, např. lokality LAPV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Aktualizovány podklady k některým lokalitám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Záměr obce Kačice na výsadbu zeleně podél Loděnice</a:t>
            </a:r>
          </a:p>
          <a:p>
            <a:pPr marL="1200150" lvl="2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Studie úpravy území (?) na LB Berounky pod Berounem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0000"/>
                </a:solidFill>
              </a:rPr>
              <a:t>Dne 7.10 poslána oficiální žádost o vyjádření ke </a:t>
            </a:r>
            <a:r>
              <a:rPr lang="cs-CZ" b="1" dirty="0" smtClean="0">
                <a:solidFill>
                  <a:srgbClr val="000000"/>
                </a:solidFill>
              </a:rPr>
              <a:t>studii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Vzhledem k charakteru vlastníka (správce) pozemků nebude předmětem žádosti výpis konkrétních pozemků </a:t>
            </a:r>
            <a:endParaRPr lang="cs-CZ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625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6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</a:t>
            </a:r>
            <a:r>
              <a:rPr lang="cs-CZ" kern="0" dirty="0" smtClean="0"/>
              <a:t>průběh </a:t>
            </a:r>
            <a:r>
              <a:rPr lang="cs-CZ" kern="0" dirty="0"/>
              <a:t>projednání :</a:t>
            </a:r>
            <a:r>
              <a:rPr lang="cs-CZ" kern="0" dirty="0" smtClean="0"/>
              <a:t/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768915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Lesy ČR </a:t>
            </a:r>
            <a:r>
              <a:rPr lang="cs-CZ" b="1" u="sng" dirty="0" err="1" smtClean="0">
                <a:solidFill>
                  <a:srgbClr val="000000"/>
                </a:solidFill>
              </a:rPr>
              <a:t>s.p</a:t>
            </a:r>
            <a:r>
              <a:rPr lang="cs-CZ" b="1" u="sng" dirty="0" smtClean="0">
                <a:solidFill>
                  <a:srgbClr val="000000"/>
                </a:solidFill>
              </a:rPr>
              <a:t>.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Prezentace návrhů dne 4.10 na ST - oblast povodí Berounka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Obeslání některých vybraných „menších“ VN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Předmětem žádosti bude požadavek na vyjádření ke konkrétním pozemkům (pozemky </a:t>
            </a:r>
            <a:r>
              <a:rPr lang="cs-CZ" b="1" i="1" dirty="0" smtClean="0">
                <a:solidFill>
                  <a:srgbClr val="000000"/>
                </a:solidFill>
              </a:rPr>
              <a:t>koryto vodního toku / lesní pozemky</a:t>
            </a:r>
            <a:r>
              <a:rPr lang="cs-CZ" b="1" dirty="0" smtClean="0">
                <a:solidFill>
                  <a:srgbClr val="000000"/>
                </a:solidFill>
              </a:rPr>
              <a:t>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4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7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</a:t>
            </a:r>
            <a:r>
              <a:rPr lang="cs-CZ" kern="0" dirty="0" smtClean="0"/>
              <a:t>průběh </a:t>
            </a:r>
            <a:r>
              <a:rPr lang="cs-CZ" kern="0" dirty="0"/>
              <a:t>projednání :</a:t>
            </a:r>
            <a:r>
              <a:rPr lang="cs-CZ" kern="0" dirty="0" smtClean="0"/>
              <a:t/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768915" cy="2777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>
                <a:solidFill>
                  <a:srgbClr val="000000"/>
                </a:solidFill>
              </a:rPr>
              <a:t>KÚ Středočeského kraje</a:t>
            </a:r>
          </a:p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AOPK ČR</a:t>
            </a:r>
          </a:p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>
                <a:solidFill>
                  <a:srgbClr val="000000"/>
                </a:solidFill>
              </a:rPr>
              <a:t>d</a:t>
            </a:r>
            <a:r>
              <a:rPr lang="cs-CZ" b="1" u="sng" dirty="0" smtClean="0">
                <a:solidFill>
                  <a:srgbClr val="000000"/>
                </a:solidFill>
              </a:rPr>
              <a:t>otčená ORP (územní plánování, životní prostředí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0000"/>
                </a:solidFill>
              </a:rPr>
              <a:t>odeslány písemné </a:t>
            </a:r>
            <a:r>
              <a:rPr lang="cs-CZ" b="1" dirty="0" smtClean="0">
                <a:solidFill>
                  <a:srgbClr val="000000"/>
                </a:solidFill>
              </a:rPr>
              <a:t>žádosti na přelomu září/října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b="1" dirty="0">
              <a:solidFill>
                <a:srgbClr val="000000"/>
              </a:solidFill>
            </a:endParaRP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436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8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</a:t>
            </a:r>
            <a:r>
              <a:rPr lang="cs-CZ" kern="0" dirty="0" smtClean="0"/>
              <a:t> průběh projednání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8539161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Dotčené obce – veřejná projednání po jednotlivých ORP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14.10 ORP Černošice + HMP (19 obcí v Radotíně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22.10 ORP Příbram (13 obcí v Příbrami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24.10 ORP Rakovník a Kralovice (15 obcí v Rakovníku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0000"/>
                </a:solidFill>
              </a:rPr>
              <a:t>24.10 ORP </a:t>
            </a:r>
            <a:r>
              <a:rPr lang="cs-CZ" b="1" dirty="0" smtClean="0">
                <a:solidFill>
                  <a:srgbClr val="000000"/>
                </a:solidFill>
              </a:rPr>
              <a:t>Kladno </a:t>
            </a:r>
            <a:r>
              <a:rPr lang="cs-CZ" b="1" dirty="0">
                <a:solidFill>
                  <a:srgbClr val="000000"/>
                </a:solidFill>
              </a:rPr>
              <a:t>a </a:t>
            </a:r>
            <a:r>
              <a:rPr lang="cs-CZ" b="1" dirty="0" smtClean="0">
                <a:solidFill>
                  <a:srgbClr val="000000"/>
                </a:solidFill>
              </a:rPr>
              <a:t>část Rakovníka (13 </a:t>
            </a:r>
            <a:r>
              <a:rPr lang="cs-CZ" b="1" dirty="0">
                <a:solidFill>
                  <a:srgbClr val="000000"/>
                </a:solidFill>
              </a:rPr>
              <a:t>obcí v Rakovníku</a:t>
            </a:r>
            <a:r>
              <a:rPr lang="cs-CZ" b="1" dirty="0" smtClean="0">
                <a:solidFill>
                  <a:srgbClr val="000000"/>
                </a:solidFill>
              </a:rPr>
              <a:t>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25.10 ORP Hořovice (22 obcí v Hořovicích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31.10 ORP Beroun (16 obcí pod soutokem </a:t>
            </a: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>
                <a:solidFill>
                  <a:srgbClr val="000000"/>
                </a:solidFill>
              </a:rPr>
              <a:t>	</a:t>
            </a:r>
            <a:r>
              <a:rPr lang="cs-CZ" b="1" dirty="0" smtClean="0">
                <a:solidFill>
                  <a:srgbClr val="000000"/>
                </a:solidFill>
              </a:rPr>
              <a:t>		   s </a:t>
            </a:r>
            <a:r>
              <a:rPr lang="cs-CZ" b="1" dirty="0" err="1" smtClean="0">
                <a:solidFill>
                  <a:srgbClr val="000000"/>
                </a:solidFill>
              </a:rPr>
              <a:t>Litavkou</a:t>
            </a:r>
            <a:r>
              <a:rPr lang="cs-CZ" b="1" dirty="0" smtClean="0">
                <a:solidFill>
                  <a:srgbClr val="000000"/>
                </a:solidFill>
              </a:rPr>
              <a:t> v Berouně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0000"/>
                </a:solidFill>
              </a:rPr>
              <a:t>31.10 ORP Beroun (</a:t>
            </a:r>
            <a:r>
              <a:rPr lang="cs-CZ" b="1" dirty="0" smtClean="0">
                <a:solidFill>
                  <a:srgbClr val="000000"/>
                </a:solidFill>
              </a:rPr>
              <a:t>15 </a:t>
            </a:r>
            <a:r>
              <a:rPr lang="cs-CZ" b="1" dirty="0">
                <a:solidFill>
                  <a:srgbClr val="000000"/>
                </a:solidFill>
              </a:rPr>
              <a:t>obcí </a:t>
            </a:r>
            <a:r>
              <a:rPr lang="cs-CZ" b="1" dirty="0" smtClean="0">
                <a:solidFill>
                  <a:srgbClr val="000000"/>
                </a:solidFill>
              </a:rPr>
              <a:t>nad </a:t>
            </a:r>
            <a:r>
              <a:rPr lang="cs-CZ" b="1" dirty="0">
                <a:solidFill>
                  <a:srgbClr val="000000"/>
                </a:solidFill>
              </a:rPr>
              <a:t>soutokem </a:t>
            </a:r>
            <a:endParaRPr lang="cs-CZ" b="1" dirty="0" smtClean="0">
              <a:solidFill>
                <a:srgbClr val="000000"/>
              </a:solidFill>
            </a:endParaRPr>
          </a:p>
          <a:p>
            <a:pPr lvl="1">
              <a:lnSpc>
                <a:spcPct val="150000"/>
              </a:lnSpc>
              <a:spcAft>
                <a:spcPts val="300"/>
              </a:spcAft>
            </a:pPr>
            <a:r>
              <a:rPr lang="cs-CZ" b="1" dirty="0">
                <a:solidFill>
                  <a:srgbClr val="000000"/>
                </a:solidFill>
              </a:rPr>
              <a:t>	</a:t>
            </a:r>
            <a:r>
              <a:rPr lang="cs-CZ" b="1" dirty="0" smtClean="0">
                <a:solidFill>
                  <a:srgbClr val="000000"/>
                </a:solidFill>
              </a:rPr>
              <a:t>		   s </a:t>
            </a:r>
            <a:r>
              <a:rPr lang="cs-CZ" b="1" dirty="0" err="1">
                <a:solidFill>
                  <a:srgbClr val="000000"/>
                </a:solidFill>
              </a:rPr>
              <a:t>Litavkou</a:t>
            </a:r>
            <a:r>
              <a:rPr lang="cs-CZ" b="1" dirty="0">
                <a:solidFill>
                  <a:srgbClr val="000000"/>
                </a:solidFill>
              </a:rPr>
              <a:t> v Berouně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b="1" dirty="0" smtClean="0">
              <a:solidFill>
                <a:srgbClr val="000000"/>
              </a:solidFill>
            </a:endParaRPr>
          </a:p>
        </p:txBody>
      </p:sp>
      <p:pic>
        <p:nvPicPr>
          <p:cNvPr id="15" name="Obrázek 1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3742" y="3429000"/>
            <a:ext cx="3182308" cy="289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386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9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Etapa C </a:t>
            </a:r>
            <a:r>
              <a:rPr lang="cs-CZ" kern="0" dirty="0"/>
              <a:t>- průběh projednání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267135" y="770443"/>
            <a:ext cx="5601009" cy="40241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Dotčení vlastníci 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mimo území dotčená realizací KPÚ (ukončené před méně než 5-ti lety, probíhající), dalšími SOP nebo dalšími studiemi a dokumentacemi 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b="1" dirty="0" smtClean="0">
              <a:solidFill>
                <a:srgbClr val="000000"/>
              </a:solidFill>
            </a:endParaRPr>
          </a:p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u="sng" dirty="0" smtClean="0">
                <a:solidFill>
                  <a:srgbClr val="000000"/>
                </a:solidFill>
              </a:rPr>
              <a:t>Dotčení uživatelé pozemků </a:t>
            </a:r>
          </a:p>
          <a:p>
            <a:pPr marL="269875" lvl="0">
              <a:lnSpc>
                <a:spcPct val="150000"/>
              </a:lnSpc>
              <a:spcAft>
                <a:spcPts val="300"/>
              </a:spcAft>
            </a:pPr>
            <a:r>
              <a:rPr lang="cs-CZ" b="1" dirty="0" smtClean="0">
                <a:solidFill>
                  <a:srgbClr val="000000"/>
                </a:solidFill>
              </a:rPr>
              <a:t>(tam, kde je nově plánován rozliv)</a:t>
            </a:r>
          </a:p>
          <a:p>
            <a:pPr marL="742950" lvl="1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>
                <a:solidFill>
                  <a:srgbClr val="000000"/>
                </a:solidFill>
              </a:rPr>
              <a:t>p</a:t>
            </a:r>
            <a:r>
              <a:rPr lang="cs-CZ" b="1" dirty="0" smtClean="0">
                <a:solidFill>
                  <a:srgbClr val="000000"/>
                </a:solidFill>
              </a:rPr>
              <a:t>ro VN mimo SO 03</a:t>
            </a:r>
            <a:endParaRPr lang="cs-CZ" b="1" dirty="0">
              <a:solidFill>
                <a:srgbClr val="000000"/>
              </a:solidFill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37549" y="778071"/>
            <a:ext cx="3507954" cy="3416838"/>
          </a:xfrm>
          <a:prstGeom prst="rect">
            <a:avLst/>
          </a:prstGeom>
        </p:spPr>
      </p:pic>
      <p:pic>
        <p:nvPicPr>
          <p:cNvPr id="6" name="Obrázek 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37549" y="4330061"/>
            <a:ext cx="3507954" cy="1104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954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ECO-template PP">
  <a:themeElements>
    <a:clrScheme name="Generell 1">
      <a:dk1>
        <a:srgbClr val="4D4D4D"/>
      </a:dk1>
      <a:lt1>
        <a:srgbClr val="FFFFFF"/>
      </a:lt1>
      <a:dk2>
        <a:srgbClr val="292929"/>
      </a:dk2>
      <a:lt2>
        <a:srgbClr val="EAEAEA"/>
      </a:lt2>
      <a:accent1>
        <a:srgbClr val="4D4D4D"/>
      </a:accent1>
      <a:accent2>
        <a:srgbClr val="B2B2B2"/>
      </a:accent2>
      <a:accent3>
        <a:srgbClr val="FFFFFF"/>
      </a:accent3>
      <a:accent4>
        <a:srgbClr val="404040"/>
      </a:accent4>
      <a:accent5>
        <a:srgbClr val="B2B2B2"/>
      </a:accent5>
      <a:accent6>
        <a:srgbClr val="A1A1A1"/>
      </a:accent6>
      <a:hlink>
        <a:srgbClr val="777777"/>
      </a:hlink>
      <a:folHlink>
        <a:srgbClr val="777777"/>
      </a:folHlink>
    </a:clrScheme>
    <a:fontScheme name="Gener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enerell 1">
        <a:dk1>
          <a:srgbClr val="4D4D4D"/>
        </a:dk1>
        <a:lt1>
          <a:srgbClr val="FFFFFF"/>
        </a:lt1>
        <a:dk2>
          <a:srgbClr val="292929"/>
        </a:dk2>
        <a:lt2>
          <a:srgbClr val="EAEAEA"/>
        </a:lt2>
        <a:accent1>
          <a:srgbClr val="4D4D4D"/>
        </a:accent1>
        <a:accent2>
          <a:srgbClr val="B2B2B2"/>
        </a:accent2>
        <a:accent3>
          <a:srgbClr val="FFFFFF"/>
        </a:accent3>
        <a:accent4>
          <a:srgbClr val="404040"/>
        </a:accent4>
        <a:accent5>
          <a:srgbClr val="B2B2B2"/>
        </a:accent5>
        <a:accent6>
          <a:srgbClr val="A1A1A1"/>
        </a:accent6>
        <a:hlink>
          <a:srgbClr val="777777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Intro">
  <a:themeElements>
    <a:clrScheme name="Intro 1">
      <a:dk1>
        <a:srgbClr val="4D4D4D"/>
      </a:dk1>
      <a:lt1>
        <a:srgbClr val="FFFFFF"/>
      </a:lt1>
      <a:dk2>
        <a:srgbClr val="292929"/>
      </a:dk2>
      <a:lt2>
        <a:srgbClr val="EAEAEA"/>
      </a:lt2>
      <a:accent1>
        <a:srgbClr val="4D4D4D"/>
      </a:accent1>
      <a:accent2>
        <a:srgbClr val="B2B2B2"/>
      </a:accent2>
      <a:accent3>
        <a:srgbClr val="FFFFFF"/>
      </a:accent3>
      <a:accent4>
        <a:srgbClr val="404040"/>
      </a:accent4>
      <a:accent5>
        <a:srgbClr val="B2B2B2"/>
      </a:accent5>
      <a:accent6>
        <a:srgbClr val="A1A1A1"/>
      </a:accent6>
      <a:hlink>
        <a:srgbClr val="777777"/>
      </a:hlink>
      <a:folHlink>
        <a:srgbClr val="777777"/>
      </a:folHlink>
    </a:clrScheme>
    <a:fontScheme name="Intr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ntro 1">
        <a:dk1>
          <a:srgbClr val="4D4D4D"/>
        </a:dk1>
        <a:lt1>
          <a:srgbClr val="FFFFFF"/>
        </a:lt1>
        <a:dk2>
          <a:srgbClr val="292929"/>
        </a:dk2>
        <a:lt2>
          <a:srgbClr val="EAEAEA"/>
        </a:lt2>
        <a:accent1>
          <a:srgbClr val="4D4D4D"/>
        </a:accent1>
        <a:accent2>
          <a:srgbClr val="B2B2B2"/>
        </a:accent2>
        <a:accent3>
          <a:srgbClr val="FFFFFF"/>
        </a:accent3>
        <a:accent4>
          <a:srgbClr val="404040"/>
        </a:accent4>
        <a:accent5>
          <a:srgbClr val="B2B2B2"/>
        </a:accent5>
        <a:accent6>
          <a:srgbClr val="A1A1A1"/>
        </a:accent6>
        <a:hlink>
          <a:srgbClr val="777777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Kancelář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85</TotalTime>
  <Words>557</Words>
  <Application>Microsoft Office PowerPoint</Application>
  <PresentationFormat>Předvádění na obrazovce (4:3)</PresentationFormat>
  <Paragraphs>124</Paragraphs>
  <Slides>15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5</vt:i4>
      </vt:variant>
    </vt:vector>
  </HeadingPairs>
  <TitlesOfParts>
    <vt:vector size="22" baseType="lpstr">
      <vt:lpstr>Arial</vt:lpstr>
      <vt:lpstr>Calibri</vt:lpstr>
      <vt:lpstr>Sweco Sans</vt:lpstr>
      <vt:lpstr>Times New Roman</vt:lpstr>
      <vt:lpstr>SWECO-template PP</vt:lpstr>
      <vt:lpstr>Intro</vt:lpstr>
      <vt:lpstr>think-cell Slide</vt:lpstr>
      <vt:lpstr>     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ĚKUJEME  ZA POZORNOST</vt:lpstr>
    </vt:vector>
  </TitlesOfParts>
  <Company>HYDROPROJEKT CZ a.s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Ing. Petr Stdnička</dc:creator>
  <cp:lastModifiedBy>Hofman Ladislav</cp:lastModifiedBy>
  <cp:revision>784</cp:revision>
  <cp:lastPrinted>2019-09-05T11:17:19Z</cp:lastPrinted>
  <dcterms:created xsi:type="dcterms:W3CDTF">2009-06-30T06:13:43Z</dcterms:created>
  <dcterms:modified xsi:type="dcterms:W3CDTF">2019-11-08T09:5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WOK_Template">
    <vt:lpwstr>OH03e 2009-03-20</vt:lpwstr>
  </property>
</Properties>
</file>